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4F70867-57B9-4B78-BB78-7C780E76478A}">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970517890606894</c:v>
                </c:pt>
                <c:pt idx="3">
                  <c:v>0.004486298563677639</c:v>
                </c:pt>
                <c:pt idx="4">
                  <c:v>0.011266602081580293</c:v>
                </c:pt>
                <c:pt idx="5">
                  <c:v>0.0057959325727496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4343080996371345</c:v>
                </c:pt>
                <c:pt idx="2">
                  <c:v>0.011266069852853245</c:v>
                </c:pt>
                <c:pt idx="3">
                  <c:v>0.05109138361851566</c:v>
                </c:pt>
                <c:pt idx="4">
                  <c:v>0.09071788386498192</c:v>
                </c:pt>
                <c:pt idx="5">
                  <c:v>0.0097305795394604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5024326148817751</c:v>
                </c:pt>
                <c:pt idx="5">
                  <c:v>0.000893838142958239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910694868590301</c:v>
                </c:pt>
                <c:pt idx="3">
                  <c:v>0.024792772527297904</c:v>
                </c:pt>
                <c:pt idx="4">
                  <c:v>0.08435112206799608</c:v>
                </c:pt>
                <c:pt idx="5">
                  <c:v>0.0848993280927136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054766567341481</c:v>
                </c:pt>
                <c:pt idx="1">
                  <c:v>0.01983153809365977</c:v>
                </c:pt>
                <c:pt idx="2">
                  <c:v>0.06422265426323968</c:v>
                </c:pt>
                <c:pt idx="3">
                  <c:v>0.12970053867165146</c:v>
                </c:pt>
                <c:pt idx="4">
                  <c:v>0.0549773786180598</c:v>
                </c:pt>
                <c:pt idx="5">
                  <c:v>0.0041060959285126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98588200164566</c:v>
                </c:pt>
                <c:pt idx="1">
                  <c:v>0.03612754162937</c:v>
                </c:pt>
                <c:pt idx="2">
                  <c:v>0.13719498356475082</c:v>
                </c:pt>
                <c:pt idx="3">
                  <c:v>0.26555439280971793</c:v>
                </c:pt>
                <c:pt idx="4">
                  <c:v>0.4037194501949932</c:v>
                </c:pt>
                <c:pt idx="5">
                  <c:v>0.14488401371549256</c:v>
                </c:pt>
                <c:pt idx="6">
                  <c:v>0.0052210298855109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5810863136528838</c:v>
                </c:pt>
                <c:pt idx="4">
                  <c:v>0.031539528242300836</c:v>
                </c:pt>
                <c:pt idx="5">
                  <c:v>0.00341291323358048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954522696761</c:v>
                </c:pt>
                <c:pt idx="4">
                  <c:v>0.031881979303787146</c:v>
                </c:pt>
                <c:pt idx="5">
                  <c:v>0.45252068038741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954522696761</c:v>
                </c:pt>
                <c:pt idx="4">
                  <c:v>0.031881979303787146</c:v>
                </c:pt>
                <c:pt idx="5">
                  <c:v>0.45252068038741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5710781901684</c:v>
                </c:pt>
                <c:pt idx="1">
                  <c:v>0.038204793375372754</c:v>
                </c:pt>
                <c:pt idx="2">
                  <c:v>0.12798552630995078</c:v>
                </c:pt>
                <c:pt idx="3">
                  <c:v>0.2579764267007195</c:v>
                </c:pt>
                <c:pt idx="4">
                  <c:v>0.41160025563959873</c:v>
                </c:pt>
                <c:pt idx="5">
                  <c:v>0.15861101936594071</c:v>
                </c:pt>
                <c:pt idx="6">
                  <c:v>0.000766267826515830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5710781901684</c:v>
                </c:pt>
                <c:pt idx="1">
                  <c:v>0.038204793375372754</c:v>
                </c:pt>
                <c:pt idx="2">
                  <c:v>0.12798552630995078</c:v>
                </c:pt>
                <c:pt idx="3">
                  <c:v>0.2579764267007195</c:v>
                </c:pt>
                <c:pt idx="4">
                  <c:v>0.41160025563959873</c:v>
                </c:pt>
                <c:pt idx="5">
                  <c:v>0.15861101936594071</c:v>
                </c:pt>
                <c:pt idx="6">
                  <c:v>0.000766267826515830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512427899765</c:v>
                </c:pt>
                <c:pt idx="2">
                  <c:v>0.028099500278328932</c:v>
                </c:pt>
                <c:pt idx="3">
                  <c:v>0.01863479867795954</c:v>
                </c:pt>
                <c:pt idx="4">
                  <c:v>0.04093035586887291</c:v>
                </c:pt>
                <c:pt idx="5">
                  <c:v>0.0211124027890061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36645505799227</c:v>
                </c:pt>
                <c:pt idx="2">
                  <c:v>0.006725257236051022</c:v>
                </c:pt>
                <c:pt idx="3">
                  <c:v>0.004236886222651477</c:v>
                </c:pt>
                <c:pt idx="4">
                  <c:v>0.00825382895712437</c:v>
                </c:pt>
                <c:pt idx="5">
                  <c:v>0.001643967235910691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5637421229578895</c:v>
                </c:pt>
                <c:pt idx="2">
                  <c:v>0.0061934727208703315</c:v>
                </c:pt>
                <c:pt idx="3">
                  <c:v>0.0472067249531499</c:v>
                </c:pt>
                <c:pt idx="4">
                  <c:v>0.08313807788673548</c:v>
                </c:pt>
                <c:pt idx="5">
                  <c:v>0.00945163175220771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385539730286393</c:v>
                </c:pt>
                <c:pt idx="4">
                  <c:v>0.03310758660491931</c:v>
                </c:pt>
                <c:pt idx="5">
                  <c:v>0.00270805929445750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281964652439774</c:v>
                </c:pt>
                <c:pt idx="1">
                  <c:v>0.0018863556610131344</c:v>
                </c:pt>
                <c:pt idx="2">
                  <c:v>0.02356171967973286</c:v>
                </c:pt>
                <c:pt idx="3">
                  <c:v>0.027217724988221167</c:v>
                </c:pt>
                <c:pt idx="4">
                  <c:v>0.09146754658537941</c:v>
                </c:pt>
                <c:pt idx="5">
                  <c:v>0.093774937457924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274359953268</c:v>
                </c:pt>
                <c:pt idx="1">
                  <c:v>0.01822319058770911</c:v>
                </c:pt>
                <c:pt idx="2">
                  <c:v>0.05803802239213856</c:v>
                </c:pt>
                <c:pt idx="3">
                  <c:v>0.13045696377903676</c:v>
                </c:pt>
                <c:pt idx="4">
                  <c:v>0.05572465160905612</c:v>
                </c:pt>
                <c:pt idx="5">
                  <c:v>0.00282772688188953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5710781901684</c:v>
                </c:pt>
                <c:pt idx="1">
                  <c:v>0.038204793375372754</c:v>
                </c:pt>
                <c:pt idx="2">
                  <c:v>0.12798552630995078</c:v>
                </c:pt>
                <c:pt idx="3">
                  <c:v>0.2579764267007195</c:v>
                </c:pt>
                <c:pt idx="4">
                  <c:v>0.41160025563959873</c:v>
                </c:pt>
                <c:pt idx="5">
                  <c:v>0.15861101936594071</c:v>
                </c:pt>
                <c:pt idx="6">
                  <c:v>0.000766267826515830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385539730286393</c:v>
                </c:pt>
                <c:pt idx="4">
                  <c:v>0.03310758660491931</c:v>
                </c:pt>
                <c:pt idx="5">
                  <c:v>0.00270805929445750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690087183809</c:v>
                </c:pt>
                <c:pt idx="4">
                  <c:v>0.02501885167891181</c:v>
                </c:pt>
                <c:pt idx="5">
                  <c:v>0.47510511822666945</c:v>
                </c:pt>
                <c:pt idx="6">
                  <c:v>0.0021541255067601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690087183809</c:v>
                </c:pt>
                <c:pt idx="4">
                  <c:v>0.02501885167891181</c:v>
                </c:pt>
                <c:pt idx="5">
                  <c:v>0.47510511822666945</c:v>
                </c:pt>
                <c:pt idx="6">
                  <c:v>0.0021541255067601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1537678476257045</c:v>
                </c:pt>
                <c:pt idx="2">
                  <c:v>0.027438323617953765</c:v>
                </c:pt>
                <c:pt idx="3">
                  <c:v>0.016133393416279708</c:v>
                </c:pt>
                <c:pt idx="4">
                  <c:v>0.03366422150381689</c:v>
                </c:pt>
                <c:pt idx="5">
                  <c:v>0.02750379950698168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7543291482773286</c:v>
                </c:pt>
                <c:pt idx="2">
                  <c:v>0.008665182825658672</c:v>
                </c:pt>
                <c:pt idx="3">
                  <c:v>0.001076612885380411</c:v>
                </c:pt>
                <c:pt idx="4">
                  <c:v>0.010776193913363263</c:v>
                </c:pt>
                <c:pt idx="5">
                  <c:v>0.002279516032290979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60293469893772</c:v>
                </c:pt>
                <c:pt idx="2">
                  <c:v>0.006767117445120051</c:v>
                </c:pt>
                <c:pt idx="3">
                  <c:v>0.038649494795227314</c:v>
                </c:pt>
                <c:pt idx="4">
                  <c:v>0.08806839263622435</c:v>
                </c:pt>
                <c:pt idx="5">
                  <c:v>0.00874750404146062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061428902955416</c:v>
                </c:pt>
                <c:pt idx="2">
                  <c:v>0.023389164467816866</c:v>
                </c:pt>
                <c:pt idx="3">
                  <c:v>0.029075836990662737</c:v>
                </c:pt>
                <c:pt idx="4">
                  <c:v>0.1122085303314333</c:v>
                </c:pt>
                <c:pt idx="5">
                  <c:v>0.087307247020438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5710781901684</c:v>
                </c:pt>
                <c:pt idx="1">
                  <c:v>0.038204793375372754</c:v>
                </c:pt>
                <c:pt idx="2">
                  <c:v>0.12798552630995078</c:v>
                </c:pt>
                <c:pt idx="3">
                  <c:v>0.2579764267007195</c:v>
                </c:pt>
                <c:pt idx="4">
                  <c:v>0.41160025563959873</c:v>
                </c:pt>
                <c:pt idx="5">
                  <c:v>0.15861101936594071</c:v>
                </c:pt>
                <c:pt idx="6">
                  <c:v>0.000766267826515830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218282918329833</c:v>
                </c:pt>
                <c:pt idx="1">
                  <c:v>0.01198652660068302</c:v>
                </c:pt>
                <c:pt idx="2">
                  <c:v>0.051156208478813595</c:v>
                </c:pt>
                <c:pt idx="3">
                  <c:v>0.12988043355866824</c:v>
                </c:pt>
                <c:pt idx="4">
                  <c:v>0.06040954934053586</c:v>
                </c:pt>
                <c:pt idx="5">
                  <c:v>0.003614450870835684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400150779786381</c:v>
                </c:pt>
                <c:pt idx="4">
                  <c:v>0.028798751042182855</c:v>
                </c:pt>
                <c:pt idx="5">
                  <c:v>0.0042842079719034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98588200164566</c:v>
                </c:pt>
                <c:pt idx="1">
                  <c:v>0.03612754162937</c:v>
                </c:pt>
                <c:pt idx="2">
                  <c:v>0.13719498356475082</c:v>
                </c:pt>
                <c:pt idx="3">
                  <c:v>0.26555439280971793</c:v>
                </c:pt>
                <c:pt idx="4">
                  <c:v>0.4037194501949932</c:v>
                </c:pt>
                <c:pt idx="5">
                  <c:v>0.14488401371549256</c:v>
                </c:pt>
                <c:pt idx="6">
                  <c:v>0.0052210298855109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21746185543237</c:v>
                </c:pt>
                <c:pt idx="2">
                  <c:v>0.025840803941858493</c:v>
                </c:pt>
                <c:pt idx="3">
                  <c:v>0.025470412751952623</c:v>
                </c:pt>
                <c:pt idx="4">
                  <c:v>0.04381575778323507</c:v>
                </c:pt>
                <c:pt idx="5">
                  <c:v>0.0242102360103761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21746185543237</c:v>
                </c:pt>
                <c:pt idx="2">
                  <c:v>0.00854792730383827</c:v>
                </c:pt>
                <c:pt idx="3">
                  <c:v>0.0036816609117870176</c:v>
                </c:pt>
                <c:pt idx="4">
                  <c:v>0.013084418862957645</c:v>
                </c:pt>
                <c:pt idx="5">
                  <c:v>0.0007978908700859749</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4343080996371345</c:v>
                </c:pt>
                <c:pt idx="2">
                  <c:v>0.011266069852853245</c:v>
                </c:pt>
                <c:pt idx="3">
                  <c:v>0.05109138361851566</c:v>
                </c:pt>
                <c:pt idx="4">
                  <c:v>0.09071788386498192</c:v>
                </c:pt>
                <c:pt idx="5">
                  <c:v>0.0097305795394604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910694868590301</c:v>
                </c:pt>
                <c:pt idx="3">
                  <c:v>0.024792772527297904</c:v>
                </c:pt>
                <c:pt idx="4">
                  <c:v>0.08435112206799608</c:v>
                </c:pt>
                <c:pt idx="5">
                  <c:v>0.0848993280927136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054766567341481</c:v>
                </c:pt>
                <c:pt idx="1">
                  <c:v>0.01983153809365977</c:v>
                </c:pt>
                <c:pt idx="2">
                  <c:v>0.06422265426323968</c:v>
                </c:pt>
                <c:pt idx="3">
                  <c:v>0.12970053867165146</c:v>
                </c:pt>
                <c:pt idx="4">
                  <c:v>0.0549773786180598</c:v>
                </c:pt>
                <c:pt idx="5">
                  <c:v>0.0041060959285126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98588200164566</c:v>
                </c:pt>
                <c:pt idx="1">
                  <c:v>0.03612754162937</c:v>
                </c:pt>
                <c:pt idx="2">
                  <c:v>0.13719498356475082</c:v>
                </c:pt>
                <c:pt idx="3">
                  <c:v>0.26555439280971793</c:v>
                </c:pt>
                <c:pt idx="4">
                  <c:v>0.4037194501949932</c:v>
                </c:pt>
                <c:pt idx="5">
                  <c:v>0.14488401371549256</c:v>
                </c:pt>
                <c:pt idx="6">
                  <c:v>0.0052210298855109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5810863136528838</c:v>
                </c:pt>
                <c:pt idx="4">
                  <c:v>0.031539528242300836</c:v>
                </c:pt>
                <c:pt idx="5">
                  <c:v>0.00341291323358048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690087183809</c:v>
                </c:pt>
                <c:pt idx="4">
                  <c:v>0.02501885167891181</c:v>
                </c:pt>
                <c:pt idx="5">
                  <c:v>0.47510511822666945</c:v>
                </c:pt>
                <c:pt idx="6">
                  <c:v>0.0021541255067601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954522696761</c:v>
                </c:pt>
                <c:pt idx="4">
                  <c:v>0.031881979303787146</c:v>
                </c:pt>
                <c:pt idx="5">
                  <c:v>0.45252068038741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954522696761</c:v>
                </c:pt>
                <c:pt idx="4">
                  <c:v>0.031881979303787146</c:v>
                </c:pt>
                <c:pt idx="5">
                  <c:v>0.45252068038741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5710781901684</c:v>
                </c:pt>
                <c:pt idx="1">
                  <c:v>0.038204793375372754</c:v>
                </c:pt>
                <c:pt idx="2">
                  <c:v>0.12798552630995078</c:v>
                </c:pt>
                <c:pt idx="3">
                  <c:v>0.2579764267007195</c:v>
                </c:pt>
                <c:pt idx="4">
                  <c:v>0.41160025563959873</c:v>
                </c:pt>
                <c:pt idx="5">
                  <c:v>0.15861101936594071</c:v>
                </c:pt>
                <c:pt idx="6">
                  <c:v>0.000766267826515830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512427899765</c:v>
                </c:pt>
                <c:pt idx="2">
                  <c:v>0.028099500278328932</c:v>
                </c:pt>
                <c:pt idx="3">
                  <c:v>0.01863479867795954</c:v>
                </c:pt>
                <c:pt idx="4">
                  <c:v>0.04093035586887291</c:v>
                </c:pt>
                <c:pt idx="5">
                  <c:v>0.0211124027890061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5637421229578895</c:v>
                </c:pt>
                <c:pt idx="2">
                  <c:v>0.0061934727208703315</c:v>
                </c:pt>
                <c:pt idx="3">
                  <c:v>0.0472067249531499</c:v>
                </c:pt>
                <c:pt idx="4">
                  <c:v>0.08313807788673548</c:v>
                </c:pt>
                <c:pt idx="5">
                  <c:v>0.00945163175220771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277342565419012</c:v>
                </c:pt>
                <c:pt idx="4">
                  <c:v>0.010300632411353873</c:v>
                </c:pt>
                <c:pt idx="5">
                  <c:v>0.00241506530205114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281964652439774</c:v>
                </c:pt>
                <c:pt idx="1">
                  <c:v>0.0018863556610131344</c:v>
                </c:pt>
                <c:pt idx="2">
                  <c:v>0.02356171967973286</c:v>
                </c:pt>
                <c:pt idx="3">
                  <c:v>0.027217724988221167</c:v>
                </c:pt>
                <c:pt idx="4">
                  <c:v>0.09146754658537941</c:v>
                </c:pt>
                <c:pt idx="5">
                  <c:v>0.093774937457924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267375522276416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274359953268</c:v>
                </c:pt>
                <c:pt idx="1">
                  <c:v>0.01822319058770911</c:v>
                </c:pt>
                <c:pt idx="2">
                  <c:v>0.05803802239213856</c:v>
                </c:pt>
                <c:pt idx="3">
                  <c:v>0.13045696377903676</c:v>
                </c:pt>
                <c:pt idx="4">
                  <c:v>0.05572465160905612</c:v>
                </c:pt>
                <c:pt idx="5">
                  <c:v>0.00282772688188953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512427899765</c:v>
                </c:pt>
                <c:pt idx="2">
                  <c:v>0.028099500278328932</c:v>
                </c:pt>
                <c:pt idx="3">
                  <c:v>0.01863479867795954</c:v>
                </c:pt>
                <c:pt idx="4">
                  <c:v>0.04093035586887291</c:v>
                </c:pt>
                <c:pt idx="5">
                  <c:v>0.0211124027890061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5710781901684</c:v>
                </c:pt>
                <c:pt idx="1">
                  <c:v>0.038204793375372754</c:v>
                </c:pt>
                <c:pt idx="2">
                  <c:v>0.12798552630995078</c:v>
                </c:pt>
                <c:pt idx="3">
                  <c:v>0.2579764267007195</c:v>
                </c:pt>
                <c:pt idx="4">
                  <c:v>0.41160025563959873</c:v>
                </c:pt>
                <c:pt idx="5">
                  <c:v>0.15861101936594071</c:v>
                </c:pt>
                <c:pt idx="6">
                  <c:v>0.000766267826515830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1385539730286393</c:v>
                </c:pt>
                <c:pt idx="4">
                  <c:v>0.03310758660491931</c:v>
                </c:pt>
                <c:pt idx="5">
                  <c:v>0.002708059294457502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912444676310762</c:v>
                </c:pt>
                <c:pt idx="3">
                  <c:v>0.0333216603293235</c:v>
                </c:pt>
                <c:pt idx="4">
                  <c:v>0.1072320370846355</c:v>
                </c:pt>
                <c:pt idx="5">
                  <c:v>0.028736261190454946</c:v>
                </c:pt>
                <c:pt idx="6">
                  <c:v>0.000723534486624747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690087183809</c:v>
                </c:pt>
                <c:pt idx="4">
                  <c:v>0.02501885167891181</c:v>
                </c:pt>
                <c:pt idx="5">
                  <c:v>0.47510511822666945</c:v>
                </c:pt>
                <c:pt idx="6">
                  <c:v>0.0021541255067601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690087183809</c:v>
                </c:pt>
                <c:pt idx="4">
                  <c:v>0.02501885167891181</c:v>
                </c:pt>
                <c:pt idx="5">
                  <c:v>0.47510511822666945</c:v>
                </c:pt>
                <c:pt idx="6">
                  <c:v>0.0021541255067601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1537678476257045</c:v>
                </c:pt>
                <c:pt idx="2">
                  <c:v>0.027438323617953765</c:v>
                </c:pt>
                <c:pt idx="3">
                  <c:v>0.016133393416279708</c:v>
                </c:pt>
                <c:pt idx="4">
                  <c:v>0.03366422150381689</c:v>
                </c:pt>
                <c:pt idx="5">
                  <c:v>0.02750379950698168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60293469893772</c:v>
                </c:pt>
                <c:pt idx="2">
                  <c:v>0.006767117445120051</c:v>
                </c:pt>
                <c:pt idx="3">
                  <c:v>0.038649494795227314</c:v>
                </c:pt>
                <c:pt idx="4">
                  <c:v>0.08806839263622435</c:v>
                </c:pt>
                <c:pt idx="5">
                  <c:v>0.00874750404146062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27397924249747</c:v>
                </c:pt>
                <c:pt idx="4">
                  <c:v>0.010885058477386517</c:v>
                </c:pt>
                <c:pt idx="5">
                  <c:v>0.00226461189986320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061428902955416</c:v>
                </c:pt>
                <c:pt idx="2">
                  <c:v>0.023389164467816866</c:v>
                </c:pt>
                <c:pt idx="3">
                  <c:v>0.029075836990662737</c:v>
                </c:pt>
                <c:pt idx="4">
                  <c:v>0.1122085303314333</c:v>
                </c:pt>
                <c:pt idx="5">
                  <c:v>0.087307247020438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42359444477614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218282918329833</c:v>
                </c:pt>
                <c:pt idx="1">
                  <c:v>0.01198652660068302</c:v>
                </c:pt>
                <c:pt idx="2">
                  <c:v>0.051156208478813595</c:v>
                </c:pt>
                <c:pt idx="3">
                  <c:v>0.12988043355866824</c:v>
                </c:pt>
                <c:pt idx="4">
                  <c:v>0.06040954934053586</c:v>
                </c:pt>
                <c:pt idx="5">
                  <c:v>0.003614450870835684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400150779786381</c:v>
                </c:pt>
                <c:pt idx="4">
                  <c:v>0.028798751042182855</c:v>
                </c:pt>
                <c:pt idx="5">
                  <c:v>0.0042842079719034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690087183809</c:v>
                </c:pt>
                <c:pt idx="4">
                  <c:v>0.02501885167891181</c:v>
                </c:pt>
                <c:pt idx="5">
                  <c:v>0.47510511822666945</c:v>
                </c:pt>
                <c:pt idx="6">
                  <c:v>0.0021541255067601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98588200164566</c:v>
                </c:pt>
                <c:pt idx="1">
                  <c:v>0.03612754162937</c:v>
                </c:pt>
                <c:pt idx="2">
                  <c:v>0.13719498356475082</c:v>
                </c:pt>
                <c:pt idx="3">
                  <c:v>0.26555439280971793</c:v>
                </c:pt>
                <c:pt idx="4">
                  <c:v>0.4037194501949932</c:v>
                </c:pt>
                <c:pt idx="5">
                  <c:v>0.14488401371549256</c:v>
                </c:pt>
                <c:pt idx="6">
                  <c:v>0.0052210298855109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21746185543237</c:v>
                </c:pt>
                <c:pt idx="2">
                  <c:v>0.025840803941858493</c:v>
                </c:pt>
                <c:pt idx="3">
                  <c:v>0.025470412751952623</c:v>
                </c:pt>
                <c:pt idx="4">
                  <c:v>0.04381575778323507</c:v>
                </c:pt>
                <c:pt idx="5">
                  <c:v>0.0242102360103761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4343080996371345</c:v>
                </c:pt>
                <c:pt idx="2">
                  <c:v>0.011266069852853245</c:v>
                </c:pt>
                <c:pt idx="3">
                  <c:v>0.05109138361851566</c:v>
                </c:pt>
                <c:pt idx="4">
                  <c:v>0.09071788386498192</c:v>
                </c:pt>
                <c:pt idx="5">
                  <c:v>0.00973057953946043</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017364073535775</c:v>
                </c:pt>
                <c:pt idx="4">
                  <c:v>0.014254262822939325</c:v>
                </c:pt>
                <c:pt idx="5">
                  <c:v>0.0040917935859554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910694868590301</c:v>
                </c:pt>
                <c:pt idx="3">
                  <c:v>0.024792772527297904</c:v>
                </c:pt>
                <c:pt idx="4">
                  <c:v>0.08435112206799608</c:v>
                </c:pt>
                <c:pt idx="5">
                  <c:v>0.08489932809271361</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120874460982095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054766567341481</c:v>
                </c:pt>
                <c:pt idx="1">
                  <c:v>0.01983153809365977</c:v>
                </c:pt>
                <c:pt idx="2">
                  <c:v>0.06422265426323968</c:v>
                </c:pt>
                <c:pt idx="3">
                  <c:v>0.12970053867165146</c:v>
                </c:pt>
                <c:pt idx="4">
                  <c:v>0.0549773786180598</c:v>
                </c:pt>
                <c:pt idx="5">
                  <c:v>0.0041060959285126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98588200164566</c:v>
                </c:pt>
                <c:pt idx="1">
                  <c:v>0.03612754162937</c:v>
                </c:pt>
                <c:pt idx="2">
                  <c:v>0.13719498356475082</c:v>
                </c:pt>
                <c:pt idx="3">
                  <c:v>0.26555439280971793</c:v>
                </c:pt>
                <c:pt idx="4">
                  <c:v>0.4037194501949932</c:v>
                </c:pt>
                <c:pt idx="5">
                  <c:v>0.14488401371549256</c:v>
                </c:pt>
                <c:pt idx="6">
                  <c:v>0.0052210298855109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5810863136528838</c:v>
                </c:pt>
                <c:pt idx="4">
                  <c:v>0.031539528242300836</c:v>
                </c:pt>
                <c:pt idx="5">
                  <c:v>0.00341291323358048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383021559055119</c:v>
                </c:pt>
                <c:pt idx="3">
                  <c:v>0.002990174210507312</c:v>
                </c:pt>
                <c:pt idx="4">
                  <c:v>0.010389502828823394</c:v>
                </c:pt>
                <c:pt idx="5">
                  <c:v>0.00483152647217511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657347865188223</c:v>
                </c:pt>
                <c:pt idx="2">
                  <c:v>0.016745032389692324</c:v>
                </c:pt>
                <c:pt idx="3">
                  <c:v>0.032918198926647366</c:v>
                </c:pt>
                <c:pt idx="4">
                  <c:v>0.09831777961841952</c:v>
                </c:pt>
                <c:pt idx="5">
                  <c:v>0.01852486091084918</c:v>
                </c:pt>
                <c:pt idx="6">
                  <c:v>0.0051710803934083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954522696761</c:v>
                </c:pt>
                <c:pt idx="4">
                  <c:v>0.031881979303787146</c:v>
                </c:pt>
                <c:pt idx="5">
                  <c:v>0.45252068038741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954522696761</c:v>
                </c:pt>
                <c:pt idx="4">
                  <c:v>0.031881979303787146</c:v>
                </c:pt>
                <c:pt idx="5">
                  <c:v>0.452520680387414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5637421229578895</c:v>
                </c:pt>
                <c:pt idx="2">
                  <c:v>0.0061934727208703315</c:v>
                </c:pt>
                <c:pt idx="3">
                  <c:v>0.0472067249531499</c:v>
                </c:pt>
                <c:pt idx="4">
                  <c:v>0.08313807788673548</c:v>
                </c:pt>
                <c:pt idx="5">
                  <c:v>0.009451631752207717</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1537678476257045</c:v>
                </c:pt>
                <c:pt idx="2">
                  <c:v>0.027438323617953765</c:v>
                </c:pt>
                <c:pt idx="3">
                  <c:v>0.016133393416279708</c:v>
                </c:pt>
                <c:pt idx="4">
                  <c:v>0.03366422150381689</c:v>
                </c:pt>
                <c:pt idx="5">
                  <c:v>0.02750379950698168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944876440793532</c:v>
                </c:pt>
                <c:pt idx="3">
                  <c:v>0.002441524269792252</c:v>
                </c:pt>
                <c:pt idx="4">
                  <c:v>0.009070736088440655</c:v>
                </c:pt>
                <c:pt idx="5">
                  <c:v>0.0066779656103044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60293469893772</c:v>
                </c:pt>
                <c:pt idx="2">
                  <c:v>0.006767117445120051</c:v>
                </c:pt>
                <c:pt idx="3">
                  <c:v>0.038649494795227314</c:v>
                </c:pt>
                <c:pt idx="4">
                  <c:v>0.08806839263622435</c:v>
                </c:pt>
                <c:pt idx="5">
                  <c:v>0.00874750404146062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1448395726764745</c:v>
                </c:pt>
                <c:pt idx="5">
                  <c:v>0.000952850814166059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1061428902955416</c:v>
                </c:pt>
                <c:pt idx="2">
                  <c:v>0.023389164467816866</c:v>
                </c:pt>
                <c:pt idx="3">
                  <c:v>0.029075836990662737</c:v>
                </c:pt>
                <c:pt idx="4">
                  <c:v>0.1122085303314333</c:v>
                </c:pt>
                <c:pt idx="5">
                  <c:v>0.0873072470204389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218282918329833</c:v>
                </c:pt>
                <c:pt idx="1">
                  <c:v>0.01198652660068302</c:v>
                </c:pt>
                <c:pt idx="2">
                  <c:v>0.051156208478813595</c:v>
                </c:pt>
                <c:pt idx="3">
                  <c:v>0.12988043355866824</c:v>
                </c:pt>
                <c:pt idx="4">
                  <c:v>0.06040954934053586</c:v>
                </c:pt>
                <c:pt idx="5">
                  <c:v>0.003614450870835684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6581129408863498</c:v>
                </c:pt>
                <c:pt idx="5">
                  <c:v>0.000657821468676209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8</c:v>
                </c:pt>
                <c:pt idx="3">
                  <c:v>0.2406692975746519</c:v>
                </c:pt>
                <c:pt idx="4">
                  <c:v>0.42350166098658626</c:v>
                </c:pt>
                <c:pt idx="5">
                  <c:v>0.166092079765411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400150779786381</c:v>
                </c:pt>
                <c:pt idx="4">
                  <c:v>0.028798751042182855</c:v>
                </c:pt>
                <c:pt idx="5">
                  <c:v>0.0042842079719034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281964652439774</c:v>
                </c:pt>
                <c:pt idx="1">
                  <c:v>0.0018863556610131344</c:v>
                </c:pt>
                <c:pt idx="2">
                  <c:v>0.02356171967973286</c:v>
                </c:pt>
                <c:pt idx="3">
                  <c:v>0.027217724988221167</c:v>
                </c:pt>
                <c:pt idx="4">
                  <c:v>0.09146754658537941</c:v>
                </c:pt>
                <c:pt idx="5">
                  <c:v>0.093774937457924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5776717174555987</c:v>
                </c:pt>
                <c:pt idx="3">
                  <c:v>0.025890123735835276</c:v>
                </c:pt>
                <c:pt idx="4">
                  <c:v>0.10035221613239301</c:v>
                </c:pt>
                <c:pt idx="5">
                  <c:v>0.03463487035379108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5</c:v>
                </c:pt>
                <c:pt idx="6">
                  <c:v>0.00745574143026797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274359953268</c:v>
                </c:pt>
                <c:pt idx="1">
                  <c:v>0.01822319058770911</c:v>
                </c:pt>
                <c:pt idx="2">
                  <c:v>0.05803802239213856</c:v>
                </c:pt>
                <c:pt idx="3">
                  <c:v>0.13045696377903676</c:v>
                </c:pt>
                <c:pt idx="4">
                  <c:v>0.05572465160905612</c:v>
                </c:pt>
                <c:pt idx="5">
                  <c:v>0.002827726881889536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98588200164566</c:v>
                </c:pt>
                <c:pt idx="1">
                  <c:v>0.03612754162937</c:v>
                </c:pt>
                <c:pt idx="2">
                  <c:v>0.13719498356475082</c:v>
                </c:pt>
                <c:pt idx="3">
                  <c:v>0.26555439280971793</c:v>
                </c:pt>
                <c:pt idx="4">
                  <c:v>0.4037194501949932</c:v>
                </c:pt>
                <c:pt idx="5">
                  <c:v>0.14488401371549256</c:v>
                </c:pt>
                <c:pt idx="6">
                  <c:v>0.00522102988551093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21746185543237</c:v>
                </c:pt>
                <c:pt idx="2">
                  <c:v>0.025840803941858493</c:v>
                </c:pt>
                <c:pt idx="3">
                  <c:v>0.025470412751952623</c:v>
                </c:pt>
                <c:pt idx="4">
                  <c:v>0.04381575778323507</c:v>
                </c:pt>
                <c:pt idx="5">
                  <c:v>0.0242102360103761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751071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03183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3958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18082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80392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325344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99545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118076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37598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234430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84531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459605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801578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78823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542018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208314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74828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062256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654240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731086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66068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82838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808073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250806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91647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747832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08692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581511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262186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3110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1756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52251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59880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84547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48315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45741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5004</Words>
  <Application>Microsoft Office PowerPoint</Application>
  <PresentationFormat>On-screen Show (16:9)</PresentationFormat>
  <Paragraphs>1512</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